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7" r:id="rId1"/>
  </p:sldMasterIdLst>
  <p:notesMasterIdLst>
    <p:notesMasterId r:id="rId5"/>
  </p:notesMasterIdLst>
  <p:sldIdLst>
    <p:sldId id="324" r:id="rId2"/>
    <p:sldId id="326" r:id="rId3"/>
    <p:sldId id="325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10">
          <p15:clr>
            <a:srgbClr val="A4A3A4"/>
          </p15:clr>
        </p15:guide>
        <p15:guide id="4" orient="horz" pos="3774">
          <p15:clr>
            <a:srgbClr val="A4A3A4"/>
          </p15:clr>
        </p15:guide>
        <p15:guide id="5" orient="horz" pos="1111">
          <p15:clr>
            <a:srgbClr val="A4A3A4"/>
          </p15:clr>
        </p15:guide>
        <p15:guide id="6" orient="horz" pos="387">
          <p15:clr>
            <a:srgbClr val="A4A3A4"/>
          </p15:clr>
        </p15:guide>
        <p15:guide id="7" orient="horz" pos="2386">
          <p15:clr>
            <a:srgbClr val="A4A3A4"/>
          </p15:clr>
        </p15:guide>
        <p15:guide id="8" orient="horz" pos="2501">
          <p15:clr>
            <a:srgbClr val="A4A3A4"/>
          </p15:clr>
        </p15:guide>
        <p15:guide id="9" orient="horz" pos="4163">
          <p15:clr>
            <a:srgbClr val="A4A3A4"/>
          </p15:clr>
        </p15:guide>
        <p15:guide id="10" pos="307">
          <p15:clr>
            <a:srgbClr val="A4A3A4"/>
          </p15:clr>
        </p15:guide>
        <p15:guide id="11" pos="7371">
          <p15:clr>
            <a:srgbClr val="A4A3A4"/>
          </p15:clr>
        </p15:guide>
        <p15:guide id="12" pos="2541">
          <p15:clr>
            <a:srgbClr val="A4A3A4"/>
          </p15:clr>
        </p15:guide>
        <p15:guide id="13" pos="2721">
          <p15:clr>
            <a:srgbClr val="A4A3A4"/>
          </p15:clr>
        </p15:guide>
        <p15:guide id="14" pos="3749">
          <p15:clr>
            <a:srgbClr val="A4A3A4"/>
          </p15:clr>
        </p15:guide>
        <p15:guide id="15" pos="3930">
          <p15:clr>
            <a:srgbClr val="A4A3A4"/>
          </p15:clr>
        </p15:guide>
        <p15:guide id="16" pos="4957">
          <p15:clr>
            <a:srgbClr val="A4A3A4"/>
          </p15:clr>
        </p15:guide>
        <p15:guide id="17" pos="5138">
          <p15:clr>
            <a:srgbClr val="A4A3A4"/>
          </p15:clr>
        </p15:guide>
        <p15:guide id="18" pos="1937">
          <p15:clr>
            <a:srgbClr val="A4A3A4"/>
          </p15:clr>
        </p15:guide>
        <p15:guide id="19" pos="2137">
          <p15:clr>
            <a:srgbClr val="A4A3A4"/>
          </p15:clr>
        </p15:guide>
        <p15:guide id="20" pos="5560">
          <p15:clr>
            <a:srgbClr val="A4A3A4"/>
          </p15:clr>
        </p15:guide>
        <p15:guide id="21" pos="57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9FD1"/>
    <a:srgbClr val="F8D14C"/>
    <a:srgbClr val="CCFFFF"/>
    <a:srgbClr val="66FFFF"/>
    <a:srgbClr val="002060"/>
    <a:srgbClr val="0F0F0F"/>
    <a:srgbClr val="0A0A0A"/>
    <a:srgbClr val="000000"/>
    <a:srgbClr val="967F93"/>
    <a:srgbClr val="2D0028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058" autoAdjust="0"/>
  </p:normalViewPr>
  <p:slideViewPr>
    <p:cSldViewPr snapToGrid="0" showGuides="1">
      <p:cViewPr varScale="1">
        <p:scale>
          <a:sx n="87" d="100"/>
          <a:sy n="87" d="100"/>
        </p:scale>
        <p:origin x="528" y="67"/>
      </p:cViewPr>
      <p:guideLst>
        <p:guide orient="horz" pos="2160"/>
        <p:guide pos="3840"/>
        <p:guide orient="horz" pos="410"/>
        <p:guide orient="horz" pos="3774"/>
        <p:guide orient="horz" pos="1111"/>
        <p:guide orient="horz" pos="387"/>
        <p:guide orient="horz" pos="2386"/>
        <p:guide orient="horz" pos="2501"/>
        <p:guide orient="horz" pos="4163"/>
        <p:guide pos="307"/>
        <p:guide pos="7371"/>
        <p:guide pos="2541"/>
        <p:guide pos="2721"/>
        <p:guide pos="3749"/>
        <p:guide pos="3930"/>
        <p:guide pos="4957"/>
        <p:guide pos="5138"/>
        <p:guide pos="1937"/>
        <p:guide pos="2137"/>
        <p:guide pos="5560"/>
        <p:guide pos="57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-3750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US" smtClean="0"/>
              <a:pPr/>
              <a:t>7/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7912" y="4715153"/>
            <a:ext cx="6023956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EDD50B2-3575-48C8-825A-CBD30BEF7BB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487363" y="313618"/>
            <a:ext cx="6184409" cy="4638504"/>
            <a:chOff x="487854" y="440703"/>
            <a:chExt cx="6184409" cy="4638504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8101" y="440703"/>
              <a:ext cx="5794162" cy="463850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854" y="872437"/>
              <a:ext cx="720000" cy="717632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" y="6508800"/>
            <a:ext cx="1171532" cy="10477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184910" y="1652269"/>
            <a:ext cx="5127353" cy="1770063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03967" y="3571558"/>
            <a:ext cx="5108296" cy="271462"/>
          </a:xfrm>
        </p:spPr>
        <p:txBody>
          <a:bodyPr anchor="b" anchorCtr="0"/>
          <a:lstStyle>
            <a:lvl1pPr marL="0" indent="0" algn="l">
              <a:buNone/>
              <a:defRPr sz="1800" b="1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insert nam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00726" y="3869718"/>
            <a:ext cx="5111537" cy="3448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insert date</a:t>
            </a:r>
          </a:p>
        </p:txBody>
      </p:sp>
    </p:spTree>
    <p:extLst>
      <p:ext uri="{BB962C8B-B14F-4D97-AF65-F5344CB8AC3E}">
        <p14:creationId xmlns:p14="http://schemas.microsoft.com/office/powerpoint/2010/main" val="850803159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87363" y="1763713"/>
            <a:ext cx="5464175" cy="422751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insert text, 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38875" y="1763713"/>
            <a:ext cx="5465763" cy="4227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insert text, 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10428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487363" y="1763713"/>
            <a:ext cx="7381875" cy="422751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8156575" y="1763713"/>
            <a:ext cx="3546000" cy="42275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569143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487364" y="1763713"/>
            <a:ext cx="3546474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319588" y="1763713"/>
            <a:ext cx="7385050" cy="4227511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697295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/>
          </p:nvPr>
        </p:nvSpPr>
        <p:spPr>
          <a:xfrm>
            <a:off x="487364" y="1763713"/>
            <a:ext cx="3546474" cy="422751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319588" y="1763713"/>
            <a:ext cx="3546475" cy="4227511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8153400" y="1763713"/>
            <a:ext cx="3545999" cy="4227511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697295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3" y="1763713"/>
            <a:ext cx="5464175" cy="2024062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487364" y="3967468"/>
            <a:ext cx="5464174" cy="20237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238875" y="1763712"/>
            <a:ext cx="5464800" cy="2023757"/>
          </a:xfrm>
        </p:spPr>
        <p:txBody>
          <a:bodyPr/>
          <a:lstStyle/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6"/>
          </p:nvPr>
        </p:nvSpPr>
        <p:spPr>
          <a:xfrm>
            <a:off x="6238875" y="3967469"/>
            <a:ext cx="5464800" cy="20237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627174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3" y="1763714"/>
            <a:ext cx="2587625" cy="42275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363913" y="1763714"/>
            <a:ext cx="2587625" cy="42275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238875" y="1763714"/>
            <a:ext cx="2587625" cy="422751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9115425" y="1763713"/>
            <a:ext cx="2587625" cy="422751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ct val="100000"/>
              </a:lnSpc>
              <a:spcAft>
                <a:spcPts val="0"/>
              </a:spcAft>
              <a:defRPr sz="1400"/>
            </a:lvl2pPr>
            <a:lvl3pPr marL="176400" indent="-176400">
              <a:lnSpc>
                <a:spcPct val="100000"/>
              </a:lnSpc>
              <a:spcAft>
                <a:spcPts val="600"/>
              </a:spcAft>
              <a:defRPr sz="1400"/>
            </a:lvl3pPr>
            <a:lvl4pPr marL="324000" indent="-144000">
              <a:spcAft>
                <a:spcPts val="600"/>
              </a:spcAft>
              <a:defRPr sz="1200"/>
            </a:lvl4pPr>
            <a:lvl5pPr marL="324000" indent="-144000"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508188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thre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4" y="1763712"/>
            <a:ext cx="3546474" cy="2024063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487362" y="3970337"/>
            <a:ext cx="3546475" cy="20232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356400" indent="-1764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4319588" y="1763713"/>
            <a:ext cx="3546475" cy="2024063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319588" y="3970338"/>
            <a:ext cx="3546475" cy="20232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6"/>
          <p:cNvSpPr>
            <a:spLocks noGrp="1"/>
          </p:cNvSpPr>
          <p:nvPr>
            <p:ph sz="quarter" idx="22" hasCustomPrompt="1"/>
          </p:nvPr>
        </p:nvSpPr>
        <p:spPr>
          <a:xfrm>
            <a:off x="8156575" y="1763713"/>
            <a:ext cx="3546475" cy="2024063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 dirty="0"/>
              <a:t>Click icons to insert table/SmartArt, or insert chart via </a:t>
            </a:r>
            <a:r>
              <a:rPr lang="en-US" noProof="1"/>
              <a:t>CorporateCharts</a:t>
            </a:r>
            <a:r>
              <a:rPr lang="en-US" dirty="0"/>
              <a:t> or image via </a:t>
            </a:r>
            <a:r>
              <a:rPr lang="en-US" noProof="1"/>
              <a:t>ImageTool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6"/>
          </p:nvPr>
        </p:nvSpPr>
        <p:spPr>
          <a:xfrm>
            <a:off x="8156575" y="3970338"/>
            <a:ext cx="3546475" cy="20232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 marL="176400" indent="-176400">
              <a:lnSpc>
                <a:spcPct val="100000"/>
              </a:lnSpc>
              <a:defRPr sz="1600"/>
            </a:lvl3pPr>
            <a:lvl4pPr marL="356400" indent="-176400">
              <a:defRPr sz="1400"/>
            </a:lvl4pPr>
            <a:lvl5pPr marL="536400" indent="-1764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836531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3400" y="604838"/>
            <a:ext cx="355489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153401" y="1739899"/>
            <a:ext cx="3546000" cy="42513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7869239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303521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4" y="604838"/>
            <a:ext cx="5469421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8875" y="1739899"/>
            <a:ext cx="5464800" cy="42513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5951537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89741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2034" y="604838"/>
            <a:ext cx="7389430" cy="86323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319588" y="1739899"/>
            <a:ext cx="7381875" cy="42513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033837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87715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7362" y="1763713"/>
            <a:ext cx="8339137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990772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 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3" y="4824777"/>
            <a:ext cx="8339137" cy="1166447"/>
          </a:xfrm>
        </p:spPr>
        <p:txBody>
          <a:bodyPr/>
          <a:lstStyle>
            <a:lvl1pPr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12192001" cy="4680000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5981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760538"/>
            <a:ext cx="12192000" cy="4230687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995028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9628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541565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35681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3" y="1763713"/>
            <a:ext cx="3546000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19588" y="0"/>
            <a:ext cx="78696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>
          <a:xfrm>
            <a:off x="1008724" y="6508841"/>
            <a:ext cx="3025114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72722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35681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3" y="1763713"/>
            <a:ext cx="3546000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19588" y="0"/>
            <a:ext cx="78696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1008724" y="6508841"/>
            <a:ext cx="3025114" cy="2444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090793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54858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5464175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8875" y="0"/>
            <a:ext cx="59508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4942813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662822181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54858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5464175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238875" y="0"/>
            <a:ext cx="59508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4942813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836327200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I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74035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7374306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156575" y="0"/>
            <a:ext cx="40331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6860514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1533166676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 III (dark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7403526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362" y="1763713"/>
            <a:ext cx="7374306" cy="42275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156575" y="0"/>
            <a:ext cx="4033100" cy="6857999"/>
          </a:xfrm>
          <a:solidFill>
            <a:srgbClr val="DBDDDB"/>
          </a:solidFill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8724" y="6508841"/>
            <a:ext cx="6860514" cy="2444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0224000" y="6238800"/>
            <a:ext cx="1476000" cy="43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197850881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363" y="1764000"/>
            <a:ext cx="11217275" cy="424239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hart or table, use layout named “Title and text” for slides with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363" y="2912985"/>
            <a:ext cx="8628061" cy="3009900"/>
          </a:xfrm>
        </p:spPr>
        <p:txBody>
          <a:bodyPr/>
          <a:lstStyle>
            <a:lvl1pPr>
              <a:lnSpc>
                <a:spcPct val="93000"/>
              </a:lnSpc>
              <a:defRPr sz="3600" b="1">
                <a:solidFill>
                  <a:schemeClr val="bg1"/>
                </a:solidFill>
              </a:defRPr>
            </a:lvl1pPr>
            <a:lvl2pPr marL="259200" indent="-259200">
              <a:lnSpc>
                <a:spcPct val="100000"/>
              </a:lnSpc>
              <a:spcBef>
                <a:spcPts val="2100"/>
              </a:spcBef>
              <a:buFont typeface="Arial" panose="020B0604020202020204" pitchFamily="34" charset="0"/>
              <a:buChar char="―"/>
              <a:defRPr sz="1600" b="0">
                <a:solidFill>
                  <a:schemeClr val="bg1"/>
                </a:solidFill>
              </a:defRPr>
            </a:lvl2pPr>
            <a:lvl3pPr marL="259200" indent="-259200">
              <a:spcBef>
                <a:spcPts val="2100"/>
              </a:spcBef>
              <a:buFont typeface="Arial" panose="020B0604020202020204" pitchFamily="34" charset="0"/>
              <a:buChar char="―"/>
              <a:defRPr sz="1600">
                <a:solidFill>
                  <a:schemeClr val="bg1"/>
                </a:solidFill>
              </a:defRPr>
            </a:lvl3pPr>
            <a:lvl4pPr marL="259200" indent="-259200">
              <a:spcBef>
                <a:spcPts val="2100"/>
              </a:spcBef>
              <a:buFont typeface="Arial" panose="020B0604020202020204" pitchFamily="34" charset="0"/>
              <a:buChar char="―"/>
              <a:defRPr sz="1600">
                <a:solidFill>
                  <a:schemeClr val="bg1"/>
                </a:solidFill>
              </a:defRPr>
            </a:lvl4pPr>
            <a:lvl5pPr marL="259200" indent="-259200">
              <a:spcBef>
                <a:spcPts val="2100"/>
              </a:spcBef>
              <a:buFont typeface="Arial" panose="020B0604020202020204" pitchFamily="34" charset="0"/>
              <a:buChar char="―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Click to edit Master text styles”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379445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073" y="2807325"/>
            <a:ext cx="6730989" cy="1350000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23036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073" y="2807325"/>
            <a:ext cx="6730989" cy="1350000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172284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estions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312" y="2786400"/>
            <a:ext cx="6483376" cy="1285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134498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estions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312" y="2786400"/>
            <a:ext cx="6483376" cy="1285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129187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think Tomorrow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868" y="2930452"/>
            <a:ext cx="9786026" cy="91949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616020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think Tomorrow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868" y="2930452"/>
            <a:ext cx="9786026" cy="919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08430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021" y="1848839"/>
            <a:ext cx="7344816" cy="21616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079" y="4112428"/>
            <a:ext cx="4014000" cy="3619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021" y="1848839"/>
            <a:ext cx="7344816" cy="216163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079" y="4112428"/>
            <a:ext cx="4014000" cy="36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642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1" y="0"/>
            <a:ext cx="12187238" cy="6858000"/>
            <a:chOff x="2" y="0"/>
            <a:chExt cx="7675" cy="4320"/>
          </a:xfrm>
        </p:grpSpPr>
        <p:sp>
          <p:nvSpPr>
            <p:cNvPr id="17" name="Rectangle 5"/>
            <p:cNvSpPr>
              <a:spLocks noChangeArrowheads="1"/>
            </p:cNvSpPr>
            <p:nvPr/>
          </p:nvSpPr>
          <p:spPr bwMode="auto">
            <a:xfrm>
              <a:off x="2" y="0"/>
              <a:ext cx="7675" cy="4320"/>
            </a:xfrm>
            <a:prstGeom prst="rect">
              <a:avLst/>
            </a:prstGeom>
            <a:solidFill>
              <a:srgbClr val="DBDD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229" y="0"/>
              <a:ext cx="7448" cy="4320"/>
            </a:xfrm>
            <a:custGeom>
              <a:avLst/>
              <a:gdLst>
                <a:gd name="T0" fmla="*/ 0 w 7448"/>
                <a:gd name="T1" fmla="*/ 340 h 4320"/>
                <a:gd name="T2" fmla="*/ 0 w 7448"/>
                <a:gd name="T3" fmla="*/ 4320 h 4320"/>
                <a:gd name="T4" fmla="*/ 7448 w 7448"/>
                <a:gd name="T5" fmla="*/ 4320 h 4320"/>
                <a:gd name="T6" fmla="*/ 7448 w 7448"/>
                <a:gd name="T7" fmla="*/ 0 h 4320"/>
                <a:gd name="T8" fmla="*/ 0 w 7448"/>
                <a:gd name="T9" fmla="*/ 34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48" h="4320">
                  <a:moveTo>
                    <a:pt x="0" y="340"/>
                  </a:moveTo>
                  <a:lnTo>
                    <a:pt x="0" y="4320"/>
                  </a:lnTo>
                  <a:lnTo>
                    <a:pt x="7448" y="4320"/>
                  </a:lnTo>
                  <a:lnTo>
                    <a:pt x="7448" y="0"/>
                  </a:lnTo>
                  <a:lnTo>
                    <a:pt x="0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2" y="113"/>
              <a:ext cx="453" cy="454"/>
            </a:xfrm>
            <a:custGeom>
              <a:avLst/>
              <a:gdLst>
                <a:gd name="T0" fmla="*/ 0 w 453"/>
                <a:gd name="T1" fmla="*/ 0 h 454"/>
                <a:gd name="T2" fmla="*/ 0 w 453"/>
                <a:gd name="T3" fmla="*/ 454 h 454"/>
                <a:gd name="T4" fmla="*/ 453 w 453"/>
                <a:gd name="T5" fmla="*/ 392 h 454"/>
                <a:gd name="T6" fmla="*/ 453 w 453"/>
                <a:gd name="T7" fmla="*/ 62 h 454"/>
                <a:gd name="T8" fmla="*/ 0 w 453"/>
                <a:gd name="T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454">
                  <a:moveTo>
                    <a:pt x="0" y="0"/>
                  </a:moveTo>
                  <a:lnTo>
                    <a:pt x="0" y="454"/>
                  </a:lnTo>
                  <a:lnTo>
                    <a:pt x="453" y="392"/>
                  </a:lnTo>
                  <a:lnTo>
                    <a:pt x="453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722313" y="6238800"/>
            <a:ext cx="10978007" cy="434959"/>
            <a:chOff x="722313" y="6238800"/>
            <a:chExt cx="10978007" cy="434959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00" y="6238800"/>
              <a:ext cx="1476320" cy="434959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313" y="6508800"/>
              <a:ext cx="1171532" cy="104770"/>
            </a:xfrm>
            <a:prstGeom prst="rect">
              <a:avLst/>
            </a:prstGeom>
          </p:spPr>
        </p:pic>
      </p:grpSp>
      <p:sp>
        <p:nvSpPr>
          <p:cNvPr id="23" name="Title 6"/>
          <p:cNvSpPr>
            <a:spLocks noGrp="1"/>
          </p:cNvSpPr>
          <p:nvPr>
            <p:ph type="title"/>
          </p:nvPr>
        </p:nvSpPr>
        <p:spPr>
          <a:xfrm>
            <a:off x="722312" y="1763713"/>
            <a:ext cx="8104187" cy="2321343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271446"/>
            <a:ext cx="8104187" cy="298450"/>
          </a:xfrm>
        </p:spPr>
        <p:txBody>
          <a:bodyPr/>
          <a:lstStyle>
            <a:lvl1pPr>
              <a:defRPr b="1" baseline="0"/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569158"/>
            <a:ext cx="8104187" cy="298450"/>
          </a:xfrm>
        </p:spPr>
        <p:txBody>
          <a:bodyPr/>
          <a:lstStyle>
            <a:lvl1pPr>
              <a:defRPr b="0" baseline="0"/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9810815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1008724" y="6606121"/>
            <a:ext cx="6857340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87363" y="6606121"/>
            <a:ext cx="516119" cy="244475"/>
          </a:xfrm>
        </p:spPr>
        <p:txBody>
          <a:bodyPr anchor="b" anchorCtr="0"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021" y="1848839"/>
            <a:ext cx="7344816" cy="216163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079" y="4112428"/>
            <a:ext cx="4014000" cy="36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493685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504000" y="6238800"/>
            <a:ext cx="11196321" cy="434959"/>
            <a:chOff x="504000" y="6238800"/>
            <a:chExt cx="11196321" cy="434959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0" y="6508800"/>
              <a:ext cx="1171532" cy="104771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00" y="6238800"/>
              <a:ext cx="1476321" cy="434959"/>
            </a:xfrm>
            <a:prstGeom prst="rect">
              <a:avLst/>
            </a:prstGeom>
          </p:spPr>
        </p:pic>
      </p:grpSp>
      <p:sp>
        <p:nvSpPr>
          <p:cNvPr id="16" name="Title 6"/>
          <p:cNvSpPr>
            <a:spLocks noGrp="1"/>
          </p:cNvSpPr>
          <p:nvPr>
            <p:ph type="title"/>
          </p:nvPr>
        </p:nvSpPr>
        <p:spPr>
          <a:xfrm>
            <a:off x="722312" y="1763713"/>
            <a:ext cx="8104187" cy="2321343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271446"/>
            <a:ext cx="8104187" cy="298450"/>
          </a:xfrm>
        </p:spPr>
        <p:txBody>
          <a:bodyPr/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569158"/>
            <a:ext cx="8104187" cy="298450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5029160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504000" y="6238800"/>
            <a:ext cx="11196320" cy="434959"/>
            <a:chOff x="504000" y="6238800"/>
            <a:chExt cx="11196320" cy="434959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4000" y="6238800"/>
              <a:ext cx="1476320" cy="434959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0" y="6508800"/>
              <a:ext cx="1171532" cy="104770"/>
            </a:xfrm>
            <a:prstGeom prst="rect">
              <a:avLst/>
            </a:prstGeom>
          </p:spPr>
        </p:pic>
      </p:grp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722312" y="1763713"/>
            <a:ext cx="8104187" cy="2321343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271446"/>
            <a:ext cx="8104187" cy="298450"/>
          </a:xfrm>
        </p:spPr>
        <p:txBody>
          <a:bodyPr/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569158"/>
            <a:ext cx="8104187" cy="298450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259125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DBDD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7363" y="1763713"/>
            <a:ext cx="8339137" cy="4431604"/>
          </a:xfrm>
        </p:spPr>
        <p:txBody>
          <a:bodyPr/>
          <a:lstStyle>
            <a:lvl1pPr>
              <a:lnSpc>
                <a:spcPct val="83000"/>
              </a:lnSpc>
              <a:spcBef>
                <a:spcPts val="1800"/>
              </a:spcBef>
              <a:buNone/>
              <a:defRPr/>
            </a:lvl1pPr>
            <a:lvl2pPr>
              <a:lnSpc>
                <a:spcPct val="83000"/>
              </a:lnSpc>
              <a:spcAft>
                <a:spcPts val="0"/>
              </a:spcAft>
              <a:defRPr/>
            </a:lvl2pPr>
            <a:lvl3pPr>
              <a:lnSpc>
                <a:spcPct val="83000"/>
              </a:lnSpc>
              <a:spcAft>
                <a:spcPts val="0"/>
              </a:spcAft>
              <a:defRPr/>
            </a:lvl3pPr>
            <a:lvl4pPr>
              <a:lnSpc>
                <a:spcPct val="83000"/>
              </a:lnSpc>
              <a:spcAft>
                <a:spcPts val="0"/>
              </a:spcAft>
              <a:defRPr/>
            </a:lvl4pPr>
            <a:lvl5pPr>
              <a:lnSpc>
                <a:spcPct val="83000"/>
              </a:lnSpc>
              <a:spcAft>
                <a:spcPts val="0"/>
              </a:spcAft>
              <a:defRPr/>
            </a:lvl5pPr>
            <a:lvl6pPr>
              <a:lnSpc>
                <a:spcPct val="83000"/>
              </a:lnSpc>
              <a:spcAft>
                <a:spcPts val="0"/>
              </a:spcAft>
              <a:defRPr/>
            </a:lvl6pPr>
            <a:lvl7pPr>
              <a:lnSpc>
                <a:spcPct val="83000"/>
              </a:lnSpc>
              <a:spcAft>
                <a:spcPts val="0"/>
              </a:spcAft>
              <a:defRPr/>
            </a:lvl7pPr>
            <a:lvl8pPr>
              <a:lnSpc>
                <a:spcPct val="83000"/>
              </a:lnSpc>
              <a:spcAft>
                <a:spcPts val="0"/>
              </a:spcAft>
              <a:defRPr/>
            </a:lvl8pPr>
            <a:lvl9pPr>
              <a:lnSpc>
                <a:spcPct val="83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443904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,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C5D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498" y="1645088"/>
            <a:ext cx="7645002" cy="2142687"/>
          </a:xfrm>
        </p:spPr>
        <p:txBody>
          <a:bodyPr/>
          <a:lstStyle>
            <a:lvl1pPr>
              <a:lnSpc>
                <a:spcPct val="88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C5DA00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534699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,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2D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84" y="0"/>
            <a:ext cx="4321016" cy="4149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498" y="1645088"/>
            <a:ext cx="7645002" cy="2142687"/>
          </a:xfrm>
        </p:spPr>
        <p:txBody>
          <a:bodyPr/>
          <a:lstStyle>
            <a:lvl1pPr>
              <a:lnSpc>
                <a:spcPct val="88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D0028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0" y="0"/>
            <a:ext cx="12193200" cy="6859588"/>
            <a:chOff x="0" y="0"/>
            <a:chExt cx="12193200" cy="6859588"/>
          </a:xfrm>
        </p:grpSpPr>
        <p:sp>
          <p:nvSpPr>
            <p:cNvPr id="11" name="Background color"/>
            <p:cNvSpPr/>
            <p:nvPr userDrawn="1"/>
          </p:nvSpPr>
          <p:spPr>
            <a:xfrm>
              <a:off x="0" y="0"/>
              <a:ext cx="12193200" cy="6858000"/>
            </a:xfrm>
            <a:prstGeom prst="rect">
              <a:avLst/>
            </a:prstGeom>
            <a:solidFill>
              <a:srgbClr val="967F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12" name="Supergraphic shape"/>
            <p:cNvGrpSpPr>
              <a:grpSpLocks noChangeAspect="1"/>
            </p:cNvGrpSpPr>
            <p:nvPr userDrawn="1"/>
          </p:nvGrpSpPr>
          <p:grpSpPr bwMode="auto">
            <a:xfrm>
              <a:off x="1588" y="0"/>
              <a:ext cx="12188825" cy="6859588"/>
              <a:chOff x="1" y="0"/>
              <a:chExt cx="7678" cy="4321"/>
            </a:xfrm>
            <a:solidFill>
              <a:srgbClr val="DBDDDB"/>
            </a:solidFill>
          </p:grpSpPr>
          <p:sp>
            <p:nvSpPr>
              <p:cNvPr id="13" name="Freeform 5"/>
              <p:cNvSpPr>
                <a:spLocks/>
              </p:cNvSpPr>
              <p:nvPr userDrawn="1"/>
            </p:nvSpPr>
            <p:spPr bwMode="auto">
              <a:xfrm>
                <a:off x="6611" y="766"/>
                <a:ext cx="347" cy="352"/>
              </a:xfrm>
              <a:custGeom>
                <a:avLst/>
                <a:gdLst>
                  <a:gd name="T0" fmla="*/ 138 w 277"/>
                  <a:gd name="T1" fmla="*/ 281 h 281"/>
                  <a:gd name="T2" fmla="*/ 277 w 277"/>
                  <a:gd name="T3" fmla="*/ 145 h 281"/>
                  <a:gd name="T4" fmla="*/ 141 w 277"/>
                  <a:gd name="T5" fmla="*/ 0 h 281"/>
                  <a:gd name="T6" fmla="*/ 0 w 277"/>
                  <a:gd name="T7" fmla="*/ 137 h 281"/>
                  <a:gd name="T8" fmla="*/ 138 w 277"/>
                  <a:gd name="T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7" h="281">
                    <a:moveTo>
                      <a:pt x="138" y="281"/>
                    </a:moveTo>
                    <a:cubicBezTo>
                      <a:pt x="156" y="264"/>
                      <a:pt x="252" y="169"/>
                      <a:pt x="277" y="145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140" y="2"/>
                      <a:pt x="20" y="119"/>
                      <a:pt x="0" y="137"/>
                    </a:cubicBezTo>
                    <a:cubicBezTo>
                      <a:pt x="28" y="165"/>
                      <a:pt x="109" y="251"/>
                      <a:pt x="138" y="281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Freeform 6"/>
              <p:cNvSpPr>
                <a:spLocks/>
              </p:cNvSpPr>
              <p:nvPr userDrawn="1"/>
            </p:nvSpPr>
            <p:spPr bwMode="auto">
              <a:xfrm>
                <a:off x="6871" y="0"/>
                <a:ext cx="808" cy="864"/>
              </a:xfrm>
              <a:custGeom>
                <a:avLst/>
                <a:gdLst>
                  <a:gd name="T0" fmla="*/ 504 w 646"/>
                  <a:gd name="T1" fmla="*/ 0 h 691"/>
                  <a:gd name="T2" fmla="*/ 0 w 646"/>
                  <a:gd name="T3" fmla="*/ 550 h 691"/>
                  <a:gd name="T4" fmla="*/ 137 w 646"/>
                  <a:gd name="T5" fmla="*/ 691 h 691"/>
                  <a:gd name="T6" fmla="*/ 614 w 646"/>
                  <a:gd name="T7" fmla="*/ 315 h 691"/>
                  <a:gd name="T8" fmla="*/ 646 w 646"/>
                  <a:gd name="T9" fmla="*/ 297 h 691"/>
                  <a:gd name="T10" fmla="*/ 646 w 646"/>
                  <a:gd name="T11" fmla="*/ 0 h 691"/>
                  <a:gd name="T12" fmla="*/ 504 w 646"/>
                  <a:gd name="T13" fmla="*/ 0 h 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6" h="691">
                    <a:moveTo>
                      <a:pt x="504" y="0"/>
                    </a:moveTo>
                    <a:cubicBezTo>
                      <a:pt x="398" y="175"/>
                      <a:pt x="221" y="345"/>
                      <a:pt x="0" y="550"/>
                    </a:cubicBezTo>
                    <a:cubicBezTo>
                      <a:pt x="27" y="579"/>
                      <a:pt x="116" y="670"/>
                      <a:pt x="137" y="691"/>
                    </a:cubicBezTo>
                    <a:cubicBezTo>
                      <a:pt x="295" y="548"/>
                      <a:pt x="427" y="427"/>
                      <a:pt x="614" y="315"/>
                    </a:cubicBezTo>
                    <a:cubicBezTo>
                      <a:pt x="625" y="309"/>
                      <a:pt x="635" y="303"/>
                      <a:pt x="646" y="297"/>
                    </a:cubicBezTo>
                    <a:cubicBezTo>
                      <a:pt x="646" y="0"/>
                      <a:pt x="646" y="0"/>
                      <a:pt x="646" y="0"/>
                    </a:cubicBez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6" name="Freeform 7"/>
              <p:cNvSpPr>
                <a:spLocks/>
              </p:cNvSpPr>
              <p:nvPr userDrawn="1"/>
            </p:nvSpPr>
            <p:spPr bwMode="auto">
              <a:xfrm>
                <a:off x="6308" y="0"/>
                <a:ext cx="1032" cy="598"/>
              </a:xfrm>
              <a:custGeom>
                <a:avLst/>
                <a:gdLst>
                  <a:gd name="T0" fmla="*/ 826 w 826"/>
                  <a:gd name="T1" fmla="*/ 0 h 478"/>
                  <a:gd name="T2" fmla="*/ 0 w 826"/>
                  <a:gd name="T3" fmla="*/ 0 h 478"/>
                  <a:gd name="T4" fmla="*/ 383 w 826"/>
                  <a:gd name="T5" fmla="*/ 478 h 478"/>
                  <a:gd name="T6" fmla="*/ 826 w 826"/>
                  <a:gd name="T7" fmla="*/ 0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26" h="478">
                    <a:moveTo>
                      <a:pt x="82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15" y="196"/>
                      <a:pt x="284" y="371"/>
                      <a:pt x="383" y="478"/>
                    </a:cubicBezTo>
                    <a:cubicBezTo>
                      <a:pt x="486" y="368"/>
                      <a:pt x="695" y="202"/>
                      <a:pt x="826" y="0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Freeform 8"/>
              <p:cNvSpPr>
                <a:spLocks/>
              </p:cNvSpPr>
              <p:nvPr userDrawn="1"/>
            </p:nvSpPr>
            <p:spPr bwMode="auto">
              <a:xfrm>
                <a:off x="7101" y="493"/>
                <a:ext cx="578" cy="942"/>
              </a:xfrm>
              <a:custGeom>
                <a:avLst/>
                <a:gdLst>
                  <a:gd name="T0" fmla="*/ 462 w 462"/>
                  <a:gd name="T1" fmla="*/ 754 h 754"/>
                  <a:gd name="T2" fmla="*/ 462 w 462"/>
                  <a:gd name="T3" fmla="*/ 0 h 754"/>
                  <a:gd name="T4" fmla="*/ 0 w 462"/>
                  <a:gd name="T5" fmla="*/ 346 h 754"/>
                  <a:gd name="T6" fmla="*/ 462 w 462"/>
                  <a:gd name="T7" fmla="*/ 754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2" h="754">
                    <a:moveTo>
                      <a:pt x="462" y="754"/>
                    </a:moveTo>
                    <a:cubicBezTo>
                      <a:pt x="462" y="0"/>
                      <a:pt x="462" y="0"/>
                      <a:pt x="462" y="0"/>
                    </a:cubicBezTo>
                    <a:cubicBezTo>
                      <a:pt x="298" y="96"/>
                      <a:pt x="173" y="190"/>
                      <a:pt x="0" y="346"/>
                    </a:cubicBezTo>
                    <a:cubicBezTo>
                      <a:pt x="162" y="494"/>
                      <a:pt x="306" y="645"/>
                      <a:pt x="462" y="754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9"/>
              <p:cNvSpPr>
                <a:spLocks/>
              </p:cNvSpPr>
              <p:nvPr userDrawn="1"/>
            </p:nvSpPr>
            <p:spPr bwMode="auto">
              <a:xfrm>
                <a:off x="1" y="0"/>
                <a:ext cx="7678" cy="4321"/>
              </a:xfrm>
              <a:custGeom>
                <a:avLst/>
                <a:gdLst>
                  <a:gd name="T0" fmla="*/ 5610 w 6143"/>
                  <a:gd name="T1" fmla="*/ 801 h 3456"/>
                  <a:gd name="T2" fmla="*/ 5469 w 6143"/>
                  <a:gd name="T3" fmla="*/ 937 h 3456"/>
                  <a:gd name="T4" fmla="*/ 6088 w 6143"/>
                  <a:gd name="T5" fmla="*/ 1853 h 3456"/>
                  <a:gd name="T6" fmla="*/ 5767 w 6143"/>
                  <a:gd name="T7" fmla="*/ 2092 h 3456"/>
                  <a:gd name="T8" fmla="*/ 5888 w 6143"/>
                  <a:gd name="T9" fmla="*/ 2060 h 3456"/>
                  <a:gd name="T10" fmla="*/ 5992 w 6143"/>
                  <a:gd name="T11" fmla="*/ 1913 h 3456"/>
                  <a:gd name="T12" fmla="*/ 5760 w 6143"/>
                  <a:gd name="T13" fmla="*/ 1425 h 3456"/>
                  <a:gd name="T14" fmla="*/ 5393 w 6143"/>
                  <a:gd name="T15" fmla="*/ 1008 h 3456"/>
                  <a:gd name="T16" fmla="*/ 4946 w 6143"/>
                  <a:gd name="T17" fmla="*/ 1544 h 3456"/>
                  <a:gd name="T18" fmla="*/ 4847 w 6143"/>
                  <a:gd name="T19" fmla="*/ 1829 h 3456"/>
                  <a:gd name="T20" fmla="*/ 4930 w 6143"/>
                  <a:gd name="T21" fmla="*/ 2027 h 3456"/>
                  <a:gd name="T22" fmla="*/ 5115 w 6143"/>
                  <a:gd name="T23" fmla="*/ 2092 h 3456"/>
                  <a:gd name="T24" fmla="*/ 4896 w 6143"/>
                  <a:gd name="T25" fmla="*/ 2035 h 3456"/>
                  <a:gd name="T26" fmla="*/ 4802 w 6143"/>
                  <a:gd name="T27" fmla="*/ 1811 h 3456"/>
                  <a:gd name="T28" fmla="*/ 4939 w 6143"/>
                  <a:gd name="T29" fmla="*/ 1458 h 3456"/>
                  <a:gd name="T30" fmla="*/ 5349 w 6143"/>
                  <a:gd name="T31" fmla="*/ 969 h 3456"/>
                  <a:gd name="T32" fmla="*/ 5204 w 6143"/>
                  <a:gd name="T33" fmla="*/ 829 h 3456"/>
                  <a:gd name="T34" fmla="*/ 5148 w 6143"/>
                  <a:gd name="T35" fmla="*/ 879 h 3456"/>
                  <a:gd name="T36" fmla="*/ 4784 w 6143"/>
                  <a:gd name="T37" fmla="*/ 1153 h 3456"/>
                  <a:gd name="T38" fmla="*/ 4276 w 6143"/>
                  <a:gd name="T39" fmla="*/ 1348 h 3456"/>
                  <a:gd name="T40" fmla="*/ 4013 w 6143"/>
                  <a:gd name="T41" fmla="*/ 1236 h 3456"/>
                  <a:gd name="T42" fmla="*/ 3965 w 6143"/>
                  <a:gd name="T43" fmla="*/ 1039 h 3456"/>
                  <a:gd name="T44" fmla="*/ 4037 w 6143"/>
                  <a:gd name="T45" fmla="*/ 1201 h 3456"/>
                  <a:gd name="T46" fmla="*/ 4332 w 6143"/>
                  <a:gd name="T47" fmla="*/ 1271 h 3456"/>
                  <a:gd name="T48" fmla="*/ 4677 w 6143"/>
                  <a:gd name="T49" fmla="*/ 1128 h 3456"/>
                  <a:gd name="T50" fmla="*/ 4940 w 6143"/>
                  <a:gd name="T51" fmla="*/ 948 h 3456"/>
                  <a:gd name="T52" fmla="*/ 5098 w 6143"/>
                  <a:gd name="T53" fmla="*/ 811 h 3456"/>
                  <a:gd name="T54" fmla="*/ 5140 w 6143"/>
                  <a:gd name="T55" fmla="*/ 770 h 3456"/>
                  <a:gd name="T56" fmla="*/ 4615 w 6143"/>
                  <a:gd name="T57" fmla="*/ 298 h 3456"/>
                  <a:gd name="T58" fmla="*/ 4185 w 6143"/>
                  <a:gd name="T59" fmla="*/ 143 h 3456"/>
                  <a:gd name="T60" fmla="*/ 3965 w 6143"/>
                  <a:gd name="T61" fmla="*/ 356 h 3456"/>
                  <a:gd name="T62" fmla="*/ 4215 w 6143"/>
                  <a:gd name="T63" fmla="*/ 94 h 3456"/>
                  <a:gd name="T64" fmla="*/ 4646 w 6143"/>
                  <a:gd name="T65" fmla="*/ 220 h 3456"/>
                  <a:gd name="T66" fmla="*/ 4986 w 6143"/>
                  <a:gd name="T67" fmla="*/ 472 h 3456"/>
                  <a:gd name="T68" fmla="*/ 5225 w 6143"/>
                  <a:gd name="T69" fmla="*/ 686 h 3456"/>
                  <a:gd name="T70" fmla="*/ 5362 w 6143"/>
                  <a:gd name="T71" fmla="*/ 549 h 3456"/>
                  <a:gd name="T72" fmla="*/ 4929 w 6143"/>
                  <a:gd name="T73" fmla="*/ 0 h 3456"/>
                  <a:gd name="T74" fmla="*/ 0 w 6143"/>
                  <a:gd name="T75" fmla="*/ 0 h 3456"/>
                  <a:gd name="T76" fmla="*/ 0 w 6143"/>
                  <a:gd name="T77" fmla="*/ 3456 h 3456"/>
                  <a:gd name="T78" fmla="*/ 6143 w 6143"/>
                  <a:gd name="T79" fmla="*/ 3456 h 3456"/>
                  <a:gd name="T80" fmla="*/ 6143 w 6143"/>
                  <a:gd name="T81" fmla="*/ 1266 h 3456"/>
                  <a:gd name="T82" fmla="*/ 5610 w 6143"/>
                  <a:gd name="T83" fmla="*/ 801 h 3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143" h="3456">
                    <a:moveTo>
                      <a:pt x="5610" y="801"/>
                    </a:moveTo>
                    <a:cubicBezTo>
                      <a:pt x="5469" y="937"/>
                      <a:pt x="5469" y="937"/>
                      <a:pt x="5469" y="937"/>
                    </a:cubicBezTo>
                    <a:cubicBezTo>
                      <a:pt x="5920" y="1381"/>
                      <a:pt x="6088" y="1657"/>
                      <a:pt x="6088" y="1853"/>
                    </a:cubicBezTo>
                    <a:cubicBezTo>
                      <a:pt x="6088" y="1901"/>
                      <a:pt x="6085" y="2092"/>
                      <a:pt x="5767" y="2092"/>
                    </a:cubicBezTo>
                    <a:cubicBezTo>
                      <a:pt x="5800" y="2084"/>
                      <a:pt x="5832" y="2090"/>
                      <a:pt x="5888" y="2060"/>
                    </a:cubicBezTo>
                    <a:cubicBezTo>
                      <a:pt x="5945" y="2032"/>
                      <a:pt x="5981" y="1965"/>
                      <a:pt x="5992" y="1913"/>
                    </a:cubicBezTo>
                    <a:cubicBezTo>
                      <a:pt x="6018" y="1795"/>
                      <a:pt x="5905" y="1618"/>
                      <a:pt x="5760" y="1425"/>
                    </a:cubicBezTo>
                    <a:cubicBezTo>
                      <a:pt x="5650" y="1279"/>
                      <a:pt x="5436" y="1050"/>
                      <a:pt x="5393" y="1008"/>
                    </a:cubicBezTo>
                    <a:cubicBezTo>
                      <a:pt x="5148" y="1246"/>
                      <a:pt x="4998" y="1451"/>
                      <a:pt x="4946" y="1544"/>
                    </a:cubicBezTo>
                    <a:cubicBezTo>
                      <a:pt x="4895" y="1637"/>
                      <a:pt x="4847" y="1710"/>
                      <a:pt x="4847" y="1829"/>
                    </a:cubicBezTo>
                    <a:cubicBezTo>
                      <a:pt x="4847" y="1910"/>
                      <a:pt x="4884" y="1987"/>
                      <a:pt x="4930" y="2027"/>
                    </a:cubicBezTo>
                    <a:cubicBezTo>
                      <a:pt x="4977" y="2069"/>
                      <a:pt x="5052" y="2081"/>
                      <a:pt x="5115" y="2092"/>
                    </a:cubicBezTo>
                    <a:cubicBezTo>
                      <a:pt x="5039" y="2092"/>
                      <a:pt x="4948" y="2074"/>
                      <a:pt x="4896" y="2035"/>
                    </a:cubicBezTo>
                    <a:cubicBezTo>
                      <a:pt x="4848" y="1999"/>
                      <a:pt x="4802" y="1916"/>
                      <a:pt x="4802" y="1811"/>
                    </a:cubicBezTo>
                    <a:cubicBezTo>
                      <a:pt x="4802" y="1685"/>
                      <a:pt x="4869" y="1567"/>
                      <a:pt x="4939" y="1458"/>
                    </a:cubicBezTo>
                    <a:cubicBezTo>
                      <a:pt x="4995" y="1368"/>
                      <a:pt x="5111" y="1206"/>
                      <a:pt x="5349" y="969"/>
                    </a:cubicBezTo>
                    <a:cubicBezTo>
                      <a:pt x="5318" y="938"/>
                      <a:pt x="5232" y="857"/>
                      <a:pt x="5204" y="829"/>
                    </a:cubicBezTo>
                    <a:cubicBezTo>
                      <a:pt x="5171" y="858"/>
                      <a:pt x="5181" y="850"/>
                      <a:pt x="5148" y="879"/>
                    </a:cubicBezTo>
                    <a:cubicBezTo>
                      <a:pt x="5011" y="999"/>
                      <a:pt x="4941" y="1055"/>
                      <a:pt x="4784" y="1153"/>
                    </a:cubicBezTo>
                    <a:cubicBezTo>
                      <a:pt x="4711" y="1199"/>
                      <a:pt x="4477" y="1348"/>
                      <a:pt x="4276" y="1348"/>
                    </a:cubicBezTo>
                    <a:cubicBezTo>
                      <a:pt x="4100" y="1348"/>
                      <a:pt x="4055" y="1288"/>
                      <a:pt x="4013" y="1236"/>
                    </a:cubicBezTo>
                    <a:cubicBezTo>
                      <a:pt x="3970" y="1185"/>
                      <a:pt x="3965" y="1103"/>
                      <a:pt x="3965" y="1039"/>
                    </a:cubicBezTo>
                    <a:cubicBezTo>
                      <a:pt x="3976" y="1086"/>
                      <a:pt x="3974" y="1126"/>
                      <a:pt x="4037" y="1201"/>
                    </a:cubicBezTo>
                    <a:cubicBezTo>
                      <a:pt x="4092" y="1266"/>
                      <a:pt x="4220" y="1293"/>
                      <a:pt x="4332" y="1271"/>
                    </a:cubicBezTo>
                    <a:cubicBezTo>
                      <a:pt x="4445" y="1250"/>
                      <a:pt x="4570" y="1186"/>
                      <a:pt x="4677" y="1128"/>
                    </a:cubicBezTo>
                    <a:cubicBezTo>
                      <a:pt x="4783" y="1069"/>
                      <a:pt x="4869" y="1005"/>
                      <a:pt x="4940" y="948"/>
                    </a:cubicBezTo>
                    <a:cubicBezTo>
                      <a:pt x="5011" y="892"/>
                      <a:pt x="5028" y="873"/>
                      <a:pt x="5098" y="811"/>
                    </a:cubicBezTo>
                    <a:cubicBezTo>
                      <a:pt x="5122" y="790"/>
                      <a:pt x="5116" y="792"/>
                      <a:pt x="5140" y="770"/>
                    </a:cubicBezTo>
                    <a:cubicBezTo>
                      <a:pt x="4969" y="596"/>
                      <a:pt x="4773" y="400"/>
                      <a:pt x="4615" y="298"/>
                    </a:cubicBezTo>
                    <a:cubicBezTo>
                      <a:pt x="4456" y="196"/>
                      <a:pt x="4370" y="143"/>
                      <a:pt x="4185" y="143"/>
                    </a:cubicBezTo>
                    <a:cubicBezTo>
                      <a:pt x="4020" y="143"/>
                      <a:pt x="3965" y="356"/>
                      <a:pt x="3965" y="356"/>
                    </a:cubicBezTo>
                    <a:cubicBezTo>
                      <a:pt x="3965" y="192"/>
                      <a:pt x="4082" y="94"/>
                      <a:pt x="4215" y="94"/>
                    </a:cubicBezTo>
                    <a:cubicBezTo>
                      <a:pt x="4391" y="94"/>
                      <a:pt x="4525" y="147"/>
                      <a:pt x="4646" y="220"/>
                    </a:cubicBezTo>
                    <a:cubicBezTo>
                      <a:pt x="4742" y="277"/>
                      <a:pt x="4899" y="397"/>
                      <a:pt x="4986" y="472"/>
                    </a:cubicBezTo>
                    <a:cubicBezTo>
                      <a:pt x="5094" y="565"/>
                      <a:pt x="5225" y="686"/>
                      <a:pt x="5225" y="686"/>
                    </a:cubicBezTo>
                    <a:cubicBezTo>
                      <a:pt x="5245" y="667"/>
                      <a:pt x="5362" y="549"/>
                      <a:pt x="5362" y="549"/>
                    </a:cubicBezTo>
                    <a:cubicBezTo>
                      <a:pt x="5215" y="398"/>
                      <a:pt x="5043" y="199"/>
                      <a:pt x="492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456"/>
                      <a:pt x="0" y="3456"/>
                      <a:pt x="0" y="3456"/>
                    </a:cubicBezTo>
                    <a:cubicBezTo>
                      <a:pt x="6143" y="3456"/>
                      <a:pt x="6143" y="3456"/>
                      <a:pt x="6143" y="3456"/>
                    </a:cubicBezTo>
                    <a:cubicBezTo>
                      <a:pt x="6143" y="1266"/>
                      <a:pt x="6143" y="1266"/>
                      <a:pt x="6143" y="1266"/>
                    </a:cubicBezTo>
                    <a:cubicBezTo>
                      <a:pt x="5975" y="1159"/>
                      <a:pt x="5805" y="1000"/>
                      <a:pt x="5610" y="801"/>
                    </a:cubicBezTo>
                    <a:close/>
                  </a:path>
                </a:pathLst>
              </a:custGeom>
              <a:solidFill>
                <a:srgbClr val="2D00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640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248973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4" imgW="353" imgH="353" progId="TCLayout.ActiveDocument.1">
                  <p:embed/>
                </p:oleObj>
              </mc:Choice>
              <mc:Fallback>
                <p:oleObj name="think-cell Slide" r:id="rId44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361" y="1763713"/>
            <a:ext cx="11217600" cy="4227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16238" y="225427"/>
            <a:ext cx="2584141" cy="365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08724" y="6508841"/>
            <a:ext cx="6857340" cy="2444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7363" y="6508841"/>
            <a:ext cx="516119" cy="2444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0" cy="43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39" r:id="rId2"/>
    <p:sldLayoutId id="2147483840" r:id="rId3"/>
    <p:sldLayoutId id="2147483887" r:id="rId4"/>
    <p:sldLayoutId id="2147483888" r:id="rId5"/>
    <p:sldLayoutId id="2147483889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  <p:sldLayoutId id="2147483855" r:id="rId19"/>
    <p:sldLayoutId id="2147483856" r:id="rId20"/>
    <p:sldLayoutId id="2147483857" r:id="rId21"/>
    <p:sldLayoutId id="2147483858" r:id="rId22"/>
    <p:sldLayoutId id="2147483859" r:id="rId23"/>
    <p:sldLayoutId id="2147483860" r:id="rId24"/>
    <p:sldLayoutId id="2147483861" r:id="rId25"/>
    <p:sldLayoutId id="2147483862" r:id="rId26"/>
    <p:sldLayoutId id="2147483863" r:id="rId27"/>
    <p:sldLayoutId id="2147483864" r:id="rId28"/>
    <p:sldLayoutId id="2147483865" r:id="rId29"/>
    <p:sldLayoutId id="2147483866" r:id="rId30"/>
    <p:sldLayoutId id="2147483867" r:id="rId31"/>
    <p:sldLayoutId id="2147483868" r:id="rId32"/>
    <p:sldLayoutId id="2147483869" r:id="rId33"/>
    <p:sldLayoutId id="2147483870" r:id="rId34"/>
    <p:sldLayoutId id="2147483871" r:id="rId35"/>
    <p:sldLayoutId id="2147483872" r:id="rId36"/>
    <p:sldLayoutId id="2147483873" r:id="rId37"/>
    <p:sldLayoutId id="2147483874" r:id="rId38"/>
    <p:sldLayoutId id="2147483875" r:id="rId39"/>
    <p:sldLayoutId id="2147483876" r:id="rId40"/>
  </p:sldLayoutIdLst>
  <p:hf sldNum="0" hdr="0" ftr="0" dt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7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​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7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90800" indent="-190800" algn="l" defTabSz="914400" rtl="0" eaLnBrk="1" latinLnBrk="0" hangingPunct="1">
        <a:lnSpc>
          <a:spcPct val="97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780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561600" indent="-1764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5DEE638-CC0F-4883-9AA0-8B23B90D1987}"/>
              </a:ext>
            </a:extLst>
          </p:cNvPr>
          <p:cNvSpPr/>
          <p:nvPr/>
        </p:nvSpPr>
        <p:spPr>
          <a:xfrm>
            <a:off x="10136650" y="6104932"/>
            <a:ext cx="2055350" cy="75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C95E666-4A06-4FF4-BDB2-F5305B06AAD8}"/>
              </a:ext>
            </a:extLst>
          </p:cNvPr>
          <p:cNvGrpSpPr/>
          <p:nvPr/>
        </p:nvGrpSpPr>
        <p:grpSpPr>
          <a:xfrm>
            <a:off x="390599" y="148186"/>
            <a:ext cx="9968742" cy="6377650"/>
            <a:chOff x="402174" y="196770"/>
            <a:chExt cx="9968742" cy="6377650"/>
          </a:xfrm>
        </p:grpSpPr>
        <p:sp>
          <p:nvSpPr>
            <p:cNvPr id="15" name="Arrow: Bent 14">
              <a:extLst>
                <a:ext uri="{FF2B5EF4-FFF2-40B4-BE49-F238E27FC236}">
                  <a16:creationId xmlns:a16="http://schemas.microsoft.com/office/drawing/2014/main" id="{D96ED481-D610-4749-8555-15C9FD366159}"/>
                </a:ext>
              </a:extLst>
            </p:cNvPr>
            <p:cNvSpPr/>
            <p:nvPr/>
          </p:nvSpPr>
          <p:spPr>
            <a:xfrm rot="5400000">
              <a:off x="5259207" y="2459140"/>
              <a:ext cx="4392462" cy="2171662"/>
            </a:xfrm>
            <a:prstGeom prst="bentArrow">
              <a:avLst>
                <a:gd name="adj1" fmla="val 10277"/>
                <a:gd name="adj2" fmla="val 9038"/>
                <a:gd name="adj3" fmla="val 9444"/>
                <a:gd name="adj4" fmla="val 43750"/>
              </a:avLst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F692F3F-D527-491E-B480-DD55D8A4F299}"/>
                </a:ext>
              </a:extLst>
            </p:cNvPr>
            <p:cNvSpPr/>
            <p:nvPr/>
          </p:nvSpPr>
          <p:spPr>
            <a:xfrm>
              <a:off x="5895389" y="196770"/>
              <a:ext cx="4475527" cy="637765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37DB23B-782E-44C8-92C2-9BF6560AB5AC}"/>
                </a:ext>
              </a:extLst>
            </p:cNvPr>
            <p:cNvSpPr/>
            <p:nvPr/>
          </p:nvSpPr>
          <p:spPr>
            <a:xfrm>
              <a:off x="439838" y="196770"/>
              <a:ext cx="5022472" cy="234966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Arrow: Right 4">
              <a:extLst>
                <a:ext uri="{FF2B5EF4-FFF2-40B4-BE49-F238E27FC236}">
                  <a16:creationId xmlns:a16="http://schemas.microsoft.com/office/drawing/2014/main" id="{F9E64C37-D445-4A27-B5A0-5BA39BBD2030}"/>
                </a:ext>
              </a:extLst>
            </p:cNvPr>
            <p:cNvSpPr/>
            <p:nvPr/>
          </p:nvSpPr>
          <p:spPr>
            <a:xfrm>
              <a:off x="2164079" y="1251993"/>
              <a:ext cx="4060487" cy="424407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2D4D1C-1F03-4E28-B32A-6193C2944295}"/>
                </a:ext>
              </a:extLst>
            </p:cNvPr>
            <p:cNvSpPr/>
            <p:nvPr/>
          </p:nvSpPr>
          <p:spPr>
            <a:xfrm>
              <a:off x="580292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Protein extraction &amp; digestion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722F6085-50CE-4C4D-91B6-D19C0EB72D6D}"/>
                </a:ext>
              </a:extLst>
            </p:cNvPr>
            <p:cNvSpPr/>
            <p:nvPr/>
          </p:nvSpPr>
          <p:spPr>
            <a:xfrm>
              <a:off x="2693378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Mass Spectrometry analysis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8D5A450-F67B-496E-8B00-2D9F554E6220}"/>
                </a:ext>
              </a:extLst>
            </p:cNvPr>
            <p:cNvSpPr/>
            <p:nvPr/>
          </p:nvSpPr>
          <p:spPr>
            <a:xfrm>
              <a:off x="6223359" y="914676"/>
              <a:ext cx="1345223" cy="109903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.RAW file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F703B7-79B5-4396-A2DF-D888A5E42874}"/>
                </a:ext>
              </a:extLst>
            </p:cNvPr>
            <p:cNvSpPr txBox="1"/>
            <p:nvPr/>
          </p:nvSpPr>
          <p:spPr>
            <a:xfrm>
              <a:off x="1919656" y="341739"/>
              <a:ext cx="1679330" cy="417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800" dirty="0"/>
                <a:t>Lab work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1965BF3-4993-4D9D-A44F-C9EF5ECBD135}"/>
                </a:ext>
              </a:extLst>
            </p:cNvPr>
            <p:cNvSpPr/>
            <p:nvPr/>
          </p:nvSpPr>
          <p:spPr>
            <a:xfrm>
              <a:off x="6810228" y="215439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Open format conversion (MGF)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756DF75-B295-4063-B804-7078E3CA2E31}"/>
                </a:ext>
              </a:extLst>
            </p:cNvPr>
            <p:cNvSpPr/>
            <p:nvPr/>
          </p:nvSpPr>
          <p:spPr>
            <a:xfrm>
              <a:off x="6810228" y="306732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eptide to Spectrum matching (PSM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7DD93A6-7BEB-48FA-97C4-48A25770CB6A}"/>
                </a:ext>
              </a:extLst>
            </p:cNvPr>
            <p:cNvSpPr/>
            <p:nvPr/>
          </p:nvSpPr>
          <p:spPr>
            <a:xfrm>
              <a:off x="6810228" y="398026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Quality control, validation and filter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F832371-63C7-474E-8E2C-0878EBB76199}"/>
                </a:ext>
              </a:extLst>
            </p:cNvPr>
            <p:cNvSpPr/>
            <p:nvPr/>
          </p:nvSpPr>
          <p:spPr>
            <a:xfrm>
              <a:off x="6810228" y="489319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tein inference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18AB81A-5908-4C89-8838-5940125BC5EB}"/>
                </a:ext>
              </a:extLst>
            </p:cNvPr>
            <p:cNvSpPr/>
            <p:nvPr/>
          </p:nvSpPr>
          <p:spPr>
            <a:xfrm>
              <a:off x="6810228" y="5729932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tein quantific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8162B1-C00C-4088-BB6E-14FF684603B9}"/>
                </a:ext>
              </a:extLst>
            </p:cNvPr>
            <p:cNvSpPr txBox="1"/>
            <p:nvPr/>
          </p:nvSpPr>
          <p:spPr>
            <a:xfrm>
              <a:off x="7513809" y="428188"/>
              <a:ext cx="2493694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Computational analysis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42B720B8-A732-4D3B-922A-A2F42E90BB32}"/>
                </a:ext>
              </a:extLst>
            </p:cNvPr>
            <p:cNvSpPr/>
            <p:nvPr/>
          </p:nvSpPr>
          <p:spPr>
            <a:xfrm rot="10800000">
              <a:off x="5462308" y="5729930"/>
              <a:ext cx="1347919" cy="532575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3E03DDB-6301-4B6E-834C-334647B8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5714" y="5850902"/>
              <a:ext cx="2005909" cy="577535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F20B809-3F2B-4154-A035-9E1871A1C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8705" y="4749818"/>
              <a:ext cx="1116188" cy="865046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30DD17C-18EA-40FB-A8F3-A98C1CA3D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5769" y="4816090"/>
              <a:ext cx="1253601" cy="1253601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01EFDEE-74CD-44BC-93C9-29AA61C9DA2A}"/>
                </a:ext>
              </a:extLst>
            </p:cNvPr>
            <p:cNvSpPr txBox="1"/>
            <p:nvPr/>
          </p:nvSpPr>
          <p:spPr>
            <a:xfrm>
              <a:off x="771766" y="3709361"/>
              <a:ext cx="3899781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Biological interpretation &amp; data visualizatio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255E39-5351-4334-8CE8-9D50E2DD6395}"/>
                </a:ext>
              </a:extLst>
            </p:cNvPr>
            <p:cNvSpPr/>
            <p:nvPr/>
          </p:nvSpPr>
          <p:spPr>
            <a:xfrm>
              <a:off x="402174" y="3456684"/>
              <a:ext cx="5022471" cy="3117736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9B10DC7-419C-4C5C-A5EA-F36BBDCBDF0E}"/>
              </a:ext>
            </a:extLst>
          </p:cNvPr>
          <p:cNvGrpSpPr/>
          <p:nvPr/>
        </p:nvGrpSpPr>
        <p:grpSpPr>
          <a:xfrm>
            <a:off x="6519515" y="1938477"/>
            <a:ext cx="279138" cy="2292002"/>
            <a:chOff x="6519515" y="1938477"/>
            <a:chExt cx="279138" cy="2292002"/>
          </a:xfrm>
        </p:grpSpPr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0E7FC5B3-EE81-4B62-A82F-D6D23C4F8AC6}"/>
                </a:ext>
              </a:extLst>
            </p:cNvPr>
            <p:cNvCxnSpPr>
              <a:cxnSpLocks/>
              <a:endCxn id="12" idx="1"/>
            </p:cNvCxnSpPr>
            <p:nvPr/>
          </p:nvCxnSpPr>
          <p:spPr>
            <a:xfrm>
              <a:off x="6519515" y="4230479"/>
              <a:ext cx="279138" cy="0"/>
            </a:xfrm>
            <a:prstGeom prst="straightConnector1">
              <a:avLst/>
            </a:prstGeom>
            <a:ln w="28575">
              <a:solidFill>
                <a:srgbClr val="2D0028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120E3D-A9C0-408F-A643-7CC952FB8354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1938477"/>
              <a:ext cx="0" cy="2292002"/>
            </a:xfrm>
            <a:prstGeom prst="line">
              <a:avLst/>
            </a:prstGeom>
            <a:ln w="28575">
              <a:solidFill>
                <a:srgbClr val="2D0028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21066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5DEE638-CC0F-4883-9AA0-8B23B90D1987}"/>
              </a:ext>
            </a:extLst>
          </p:cNvPr>
          <p:cNvSpPr/>
          <p:nvPr/>
        </p:nvSpPr>
        <p:spPr>
          <a:xfrm>
            <a:off x="10136650" y="6104932"/>
            <a:ext cx="2055350" cy="75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C95E666-4A06-4FF4-BDB2-F5305B06AAD8}"/>
              </a:ext>
            </a:extLst>
          </p:cNvPr>
          <p:cNvGrpSpPr/>
          <p:nvPr/>
        </p:nvGrpSpPr>
        <p:grpSpPr>
          <a:xfrm>
            <a:off x="390599" y="148186"/>
            <a:ext cx="9968742" cy="6377650"/>
            <a:chOff x="402174" y="196770"/>
            <a:chExt cx="9968742" cy="6377650"/>
          </a:xfrm>
        </p:grpSpPr>
        <p:sp>
          <p:nvSpPr>
            <p:cNvPr id="15" name="Arrow: Bent 14">
              <a:extLst>
                <a:ext uri="{FF2B5EF4-FFF2-40B4-BE49-F238E27FC236}">
                  <a16:creationId xmlns:a16="http://schemas.microsoft.com/office/drawing/2014/main" id="{D96ED481-D610-4749-8555-15C9FD366159}"/>
                </a:ext>
              </a:extLst>
            </p:cNvPr>
            <p:cNvSpPr/>
            <p:nvPr/>
          </p:nvSpPr>
          <p:spPr>
            <a:xfrm rot="5400000">
              <a:off x="5259207" y="2459140"/>
              <a:ext cx="4392462" cy="2171662"/>
            </a:xfrm>
            <a:prstGeom prst="bentArrow">
              <a:avLst>
                <a:gd name="adj1" fmla="val 10277"/>
                <a:gd name="adj2" fmla="val 9038"/>
                <a:gd name="adj3" fmla="val 9444"/>
                <a:gd name="adj4" fmla="val 43750"/>
              </a:avLst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F692F3F-D527-491E-B480-DD55D8A4F299}"/>
                </a:ext>
              </a:extLst>
            </p:cNvPr>
            <p:cNvSpPr/>
            <p:nvPr/>
          </p:nvSpPr>
          <p:spPr>
            <a:xfrm>
              <a:off x="5895389" y="196770"/>
              <a:ext cx="4475527" cy="637765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37DB23B-782E-44C8-92C2-9BF6560AB5AC}"/>
                </a:ext>
              </a:extLst>
            </p:cNvPr>
            <p:cNvSpPr/>
            <p:nvPr/>
          </p:nvSpPr>
          <p:spPr>
            <a:xfrm>
              <a:off x="439838" y="196770"/>
              <a:ext cx="5022472" cy="2349660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Arrow: Right 4">
              <a:extLst>
                <a:ext uri="{FF2B5EF4-FFF2-40B4-BE49-F238E27FC236}">
                  <a16:creationId xmlns:a16="http://schemas.microsoft.com/office/drawing/2014/main" id="{F9E64C37-D445-4A27-B5A0-5BA39BBD2030}"/>
                </a:ext>
              </a:extLst>
            </p:cNvPr>
            <p:cNvSpPr/>
            <p:nvPr/>
          </p:nvSpPr>
          <p:spPr>
            <a:xfrm>
              <a:off x="2164079" y="1251993"/>
              <a:ext cx="4060487" cy="424407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B2D4D1C-1F03-4E28-B32A-6193C2944295}"/>
                </a:ext>
              </a:extLst>
            </p:cNvPr>
            <p:cNvSpPr/>
            <p:nvPr/>
          </p:nvSpPr>
          <p:spPr>
            <a:xfrm>
              <a:off x="580292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Protein extraction &amp; digestion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722F6085-50CE-4C4D-91B6-D19C0EB72D6D}"/>
                </a:ext>
              </a:extLst>
            </p:cNvPr>
            <p:cNvSpPr/>
            <p:nvPr/>
          </p:nvSpPr>
          <p:spPr>
            <a:xfrm>
              <a:off x="2693378" y="888022"/>
              <a:ext cx="1811216" cy="1099039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rgbClr val="F8D14C"/>
                  </a:solidFill>
                </a:rPr>
                <a:t>Mass Spectrometry analysis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8D5A450-F67B-496E-8B00-2D9F554E6220}"/>
                </a:ext>
              </a:extLst>
            </p:cNvPr>
            <p:cNvSpPr/>
            <p:nvPr/>
          </p:nvSpPr>
          <p:spPr>
            <a:xfrm>
              <a:off x="6223359" y="914676"/>
              <a:ext cx="1345223" cy="109903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.RAW file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F703B7-79B5-4396-A2DF-D888A5E42874}"/>
                </a:ext>
              </a:extLst>
            </p:cNvPr>
            <p:cNvSpPr txBox="1"/>
            <p:nvPr/>
          </p:nvSpPr>
          <p:spPr>
            <a:xfrm>
              <a:off x="1919656" y="341739"/>
              <a:ext cx="1679330" cy="417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7000"/>
                </a:lnSpc>
              </a:pPr>
              <a:r>
                <a:rPr lang="en-US" sz="2800" dirty="0"/>
                <a:t>Lab work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1965BF3-4993-4D9D-A44F-C9EF5ECBD135}"/>
                </a:ext>
              </a:extLst>
            </p:cNvPr>
            <p:cNvSpPr/>
            <p:nvPr/>
          </p:nvSpPr>
          <p:spPr>
            <a:xfrm>
              <a:off x="6810228" y="215439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Open format conversion (MGF)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756DF75-B295-4063-B804-7078E3CA2E31}"/>
                </a:ext>
              </a:extLst>
            </p:cNvPr>
            <p:cNvSpPr/>
            <p:nvPr/>
          </p:nvSpPr>
          <p:spPr>
            <a:xfrm>
              <a:off x="6810228" y="306732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eptide to Spectrum matching (PSM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7DD93A6-7BEB-48FA-97C4-48A25770CB6A}"/>
                </a:ext>
              </a:extLst>
            </p:cNvPr>
            <p:cNvSpPr/>
            <p:nvPr/>
          </p:nvSpPr>
          <p:spPr>
            <a:xfrm>
              <a:off x="6810228" y="3980263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Quality control, validation and filtering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F832371-63C7-474E-8E2C-0878EBB76199}"/>
                </a:ext>
              </a:extLst>
            </p:cNvPr>
            <p:cNvSpPr/>
            <p:nvPr/>
          </p:nvSpPr>
          <p:spPr>
            <a:xfrm>
              <a:off x="6810228" y="4893198"/>
              <a:ext cx="3326422" cy="597600"/>
            </a:xfrm>
            <a:prstGeom prst="roundRect">
              <a:avLst/>
            </a:prstGeom>
            <a:solidFill>
              <a:srgbClr val="F8D14C"/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solidFill>
                    <a:schemeClr val="bg1"/>
                  </a:solidFill>
                </a:rPr>
                <a:t>Protein inference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A18AB81A-5908-4C89-8838-5940125BC5EB}"/>
                </a:ext>
              </a:extLst>
            </p:cNvPr>
            <p:cNvSpPr/>
            <p:nvPr/>
          </p:nvSpPr>
          <p:spPr>
            <a:xfrm>
              <a:off x="6810228" y="5729932"/>
              <a:ext cx="3326422" cy="597600"/>
            </a:xfrm>
            <a:prstGeom prst="roundRect">
              <a:avLst/>
            </a:prstGeom>
            <a:solidFill>
              <a:srgbClr val="F8D14C"/>
            </a:solidFill>
            <a:ln w="57150">
              <a:solidFill>
                <a:srgbClr val="2C9F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Protein quantific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8162B1-C00C-4088-BB6E-14FF684603B9}"/>
                </a:ext>
              </a:extLst>
            </p:cNvPr>
            <p:cNvSpPr txBox="1"/>
            <p:nvPr/>
          </p:nvSpPr>
          <p:spPr>
            <a:xfrm>
              <a:off x="7513809" y="428188"/>
              <a:ext cx="2493694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Computational analysis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42B720B8-A732-4D3B-922A-A2F42E90BB32}"/>
                </a:ext>
              </a:extLst>
            </p:cNvPr>
            <p:cNvSpPr/>
            <p:nvPr/>
          </p:nvSpPr>
          <p:spPr>
            <a:xfrm rot="10800000">
              <a:off x="5462308" y="5729930"/>
              <a:ext cx="1347919" cy="532575"/>
            </a:xfrm>
            <a:prstGeom prst="rightArrow">
              <a:avLst/>
            </a:prstGeom>
            <a:solidFill>
              <a:srgbClr val="2C9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3E03DDB-6301-4B6E-834C-334647B8B32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5714" y="5850902"/>
              <a:ext cx="2005909" cy="577535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F20B809-3F2B-4154-A035-9E1871A1C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8705" y="4749818"/>
              <a:ext cx="1116188" cy="865046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30DD17C-18EA-40FB-A8F3-A98C1CA3D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5769" y="4816090"/>
              <a:ext cx="1253601" cy="1253601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01EFDEE-74CD-44BC-93C9-29AA61C9DA2A}"/>
                </a:ext>
              </a:extLst>
            </p:cNvPr>
            <p:cNvSpPr txBox="1"/>
            <p:nvPr/>
          </p:nvSpPr>
          <p:spPr>
            <a:xfrm>
              <a:off x="771766" y="3709361"/>
              <a:ext cx="3899781" cy="835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7000"/>
                </a:lnSpc>
              </a:pPr>
              <a:r>
                <a:rPr lang="en-US" sz="2800" dirty="0"/>
                <a:t>Biological interpretation &amp; data visualizatio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255E39-5351-4334-8CE8-9D50E2DD6395}"/>
                </a:ext>
              </a:extLst>
            </p:cNvPr>
            <p:cNvSpPr/>
            <p:nvPr/>
          </p:nvSpPr>
          <p:spPr>
            <a:xfrm>
              <a:off x="402174" y="3456684"/>
              <a:ext cx="5022471" cy="3117736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354D039-9C32-43A2-9392-913BC216A103}"/>
              </a:ext>
            </a:extLst>
          </p:cNvPr>
          <p:cNvGrpSpPr/>
          <p:nvPr/>
        </p:nvGrpSpPr>
        <p:grpSpPr>
          <a:xfrm>
            <a:off x="6519515" y="1938477"/>
            <a:ext cx="279138" cy="2292002"/>
            <a:chOff x="6519515" y="1938477"/>
            <a:chExt cx="279138" cy="2292002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DE57AFA5-6E98-43BE-A5D3-9D9CE5777101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4230479"/>
              <a:ext cx="279138" cy="0"/>
            </a:xfrm>
            <a:prstGeom prst="straightConnector1">
              <a:avLst/>
            </a:prstGeom>
            <a:ln w="28575">
              <a:solidFill>
                <a:srgbClr val="2D0028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08C7463-D90A-403A-B92C-ADB9C05A87AC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1938477"/>
              <a:ext cx="0" cy="2292002"/>
            </a:xfrm>
            <a:prstGeom prst="line">
              <a:avLst/>
            </a:prstGeom>
            <a:ln w="28575">
              <a:solidFill>
                <a:srgbClr val="2D0028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2560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45DEE638-CC0F-4883-9AA0-8B23B90D1987}"/>
              </a:ext>
            </a:extLst>
          </p:cNvPr>
          <p:cNvSpPr/>
          <p:nvPr/>
        </p:nvSpPr>
        <p:spPr>
          <a:xfrm>
            <a:off x="10136650" y="6104932"/>
            <a:ext cx="2055350" cy="75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Arrow: Bent 14">
            <a:extLst>
              <a:ext uri="{FF2B5EF4-FFF2-40B4-BE49-F238E27FC236}">
                <a16:creationId xmlns:a16="http://schemas.microsoft.com/office/drawing/2014/main" id="{D96ED481-D610-4749-8555-15C9FD366159}"/>
              </a:ext>
            </a:extLst>
          </p:cNvPr>
          <p:cNvSpPr/>
          <p:nvPr/>
        </p:nvSpPr>
        <p:spPr>
          <a:xfrm rot="5400000">
            <a:off x="-227193" y="2352682"/>
            <a:ext cx="4392462" cy="2171662"/>
          </a:xfrm>
          <a:prstGeom prst="bentArrow">
            <a:avLst>
              <a:gd name="adj1" fmla="val 10277"/>
              <a:gd name="adj2" fmla="val 9038"/>
              <a:gd name="adj3" fmla="val 9444"/>
              <a:gd name="adj4" fmla="val 43750"/>
            </a:avLst>
          </a:prstGeom>
          <a:solidFill>
            <a:srgbClr val="2C9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F692F3F-D527-491E-B480-DD55D8A4F299}"/>
              </a:ext>
            </a:extLst>
          </p:cNvPr>
          <p:cNvSpPr/>
          <p:nvPr/>
        </p:nvSpPr>
        <p:spPr>
          <a:xfrm>
            <a:off x="408989" y="90312"/>
            <a:ext cx="4475527" cy="6377650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8D5A450-F67B-496E-8B00-2D9F554E6220}"/>
              </a:ext>
            </a:extLst>
          </p:cNvPr>
          <p:cNvSpPr/>
          <p:nvPr/>
        </p:nvSpPr>
        <p:spPr>
          <a:xfrm>
            <a:off x="736959" y="808218"/>
            <a:ext cx="1345223" cy="1099039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.RAW file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1965BF3-4993-4D9D-A44F-C9EF5ECBD135}"/>
              </a:ext>
            </a:extLst>
          </p:cNvPr>
          <p:cNvSpPr/>
          <p:nvPr/>
        </p:nvSpPr>
        <p:spPr>
          <a:xfrm>
            <a:off x="1323828" y="2047935"/>
            <a:ext cx="3326422" cy="597600"/>
          </a:xfrm>
          <a:prstGeom prst="roundRect">
            <a:avLst/>
          </a:prstGeom>
          <a:solidFill>
            <a:srgbClr val="F8D14C"/>
          </a:solidFill>
          <a:ln>
            <a:solidFill>
              <a:srgbClr val="C5D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Open format conversion (MGF)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756DF75-B295-4063-B804-7078E3CA2E31}"/>
              </a:ext>
            </a:extLst>
          </p:cNvPr>
          <p:cNvSpPr/>
          <p:nvPr/>
        </p:nvSpPr>
        <p:spPr>
          <a:xfrm>
            <a:off x="1323828" y="2960870"/>
            <a:ext cx="3326422" cy="597600"/>
          </a:xfrm>
          <a:prstGeom prst="roundRect">
            <a:avLst/>
          </a:prstGeom>
          <a:solidFill>
            <a:srgbClr val="F8D14C"/>
          </a:solidFill>
          <a:ln>
            <a:solidFill>
              <a:srgbClr val="C5D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Peptide to Spectrum matching (PSM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7DD93A6-7BEB-48FA-97C4-48A25770CB6A}"/>
              </a:ext>
            </a:extLst>
          </p:cNvPr>
          <p:cNvSpPr/>
          <p:nvPr/>
        </p:nvSpPr>
        <p:spPr>
          <a:xfrm>
            <a:off x="1323828" y="3873805"/>
            <a:ext cx="3326422" cy="597600"/>
          </a:xfrm>
          <a:prstGeom prst="roundRect">
            <a:avLst/>
          </a:prstGeom>
          <a:solidFill>
            <a:srgbClr val="F8D14C"/>
          </a:solidFill>
          <a:ln>
            <a:solidFill>
              <a:srgbClr val="C5D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Quality control, validation and filter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F832371-63C7-474E-8E2C-0878EBB76199}"/>
              </a:ext>
            </a:extLst>
          </p:cNvPr>
          <p:cNvSpPr/>
          <p:nvPr/>
        </p:nvSpPr>
        <p:spPr>
          <a:xfrm>
            <a:off x="1323828" y="4786740"/>
            <a:ext cx="3326422" cy="597600"/>
          </a:xfrm>
          <a:prstGeom prst="roundRect">
            <a:avLst/>
          </a:prstGeom>
          <a:solidFill>
            <a:srgbClr val="F8D14C"/>
          </a:solidFill>
          <a:ln>
            <a:solidFill>
              <a:srgbClr val="C5D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Protein inference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18AB81A-5908-4C89-8838-5940125BC5EB}"/>
              </a:ext>
            </a:extLst>
          </p:cNvPr>
          <p:cNvSpPr/>
          <p:nvPr/>
        </p:nvSpPr>
        <p:spPr>
          <a:xfrm>
            <a:off x="1323828" y="5623474"/>
            <a:ext cx="3326422" cy="597600"/>
          </a:xfrm>
          <a:prstGeom prst="roundRect">
            <a:avLst/>
          </a:prstGeom>
          <a:solidFill>
            <a:srgbClr val="F8D14C"/>
          </a:solidFill>
          <a:ln>
            <a:solidFill>
              <a:srgbClr val="C5D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en-US" dirty="0">
                <a:solidFill>
                  <a:schemeClr val="bg1"/>
                </a:solidFill>
              </a:rPr>
              <a:t>Protein quantific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88162B1-C00C-4088-BB6E-14FF684603B9}"/>
              </a:ext>
            </a:extLst>
          </p:cNvPr>
          <p:cNvSpPr txBox="1"/>
          <p:nvPr/>
        </p:nvSpPr>
        <p:spPr>
          <a:xfrm>
            <a:off x="2027409" y="321730"/>
            <a:ext cx="2493694" cy="8358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US" sz="2800" dirty="0"/>
              <a:t>Computational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B9F1B5-9A8A-4DDE-B062-BAA9384672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109" y="1508878"/>
            <a:ext cx="1141704" cy="6176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0928385-BB96-481A-8DDE-4F1A04F1E8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6025" r="13119"/>
          <a:stretch/>
        </p:blipFill>
        <p:spPr>
          <a:xfrm>
            <a:off x="5239109" y="2188456"/>
            <a:ext cx="3781866" cy="54033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7411C78-27F9-4542-957C-190416E727F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71" b="27544"/>
          <a:stretch/>
        </p:blipFill>
        <p:spPr>
          <a:xfrm>
            <a:off x="5239109" y="2890298"/>
            <a:ext cx="2286000" cy="71987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35F4332-EFD7-4C8D-800E-B49A49184A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109" y="4072365"/>
            <a:ext cx="2286000" cy="1428750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8DFB9C0D-4DE1-4A2E-8B3B-02EEBCFF3D2D}"/>
              </a:ext>
            </a:extLst>
          </p:cNvPr>
          <p:cNvGrpSpPr/>
          <p:nvPr/>
        </p:nvGrpSpPr>
        <p:grpSpPr>
          <a:xfrm>
            <a:off x="5239109" y="5384340"/>
            <a:ext cx="2842712" cy="1190376"/>
            <a:chOff x="5192451" y="5439428"/>
            <a:chExt cx="2579782" cy="1080275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87D4978-3953-43BF-84A0-D314AC9EDC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92451" y="5439428"/>
              <a:ext cx="2390775" cy="523875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BBB25823-707C-42E9-926E-7B2329A44B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594"/>
            <a:stretch/>
          </p:blipFill>
          <p:spPr>
            <a:xfrm>
              <a:off x="5303389" y="5881866"/>
              <a:ext cx="2468844" cy="637837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15363A8-0E0B-4E88-8D7A-565DBA99DA80}"/>
              </a:ext>
            </a:extLst>
          </p:cNvPr>
          <p:cNvGrpSpPr/>
          <p:nvPr/>
        </p:nvGrpSpPr>
        <p:grpSpPr>
          <a:xfrm>
            <a:off x="1044690" y="1908408"/>
            <a:ext cx="279138" cy="2292002"/>
            <a:chOff x="6519515" y="1938477"/>
            <a:chExt cx="279138" cy="2292002"/>
          </a:xfrm>
        </p:grpSpPr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EC146FA1-E058-4024-982F-05942913781F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4230479"/>
              <a:ext cx="279138" cy="0"/>
            </a:xfrm>
            <a:prstGeom prst="straightConnector1">
              <a:avLst/>
            </a:prstGeom>
            <a:ln w="28575">
              <a:solidFill>
                <a:srgbClr val="2D0028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45F8391-67AE-46FF-9F1F-483E5A512E90}"/>
                </a:ext>
              </a:extLst>
            </p:cNvPr>
            <p:cNvCxnSpPr>
              <a:cxnSpLocks/>
            </p:cNvCxnSpPr>
            <p:nvPr/>
          </p:nvCxnSpPr>
          <p:spPr>
            <a:xfrm>
              <a:off x="6519515" y="1938477"/>
              <a:ext cx="0" cy="2292002"/>
            </a:xfrm>
            <a:prstGeom prst="line">
              <a:avLst/>
            </a:prstGeom>
            <a:ln w="28575">
              <a:solidFill>
                <a:srgbClr val="2D0028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18426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elk\AppData\Local\SkabelonDesign\AddIns\CacheImage\API\Skyfish\26749305_1600px.jpg"/>
</p:tagLst>
</file>

<file path=ppt/theme/theme1.xml><?xml version="1.0" encoding="utf-8"?>
<a:theme xmlns:a="http://schemas.openxmlformats.org/drawingml/2006/main" name="4_Blank">
  <a:themeElements>
    <a:clrScheme name="Novozymes">
      <a:dk1>
        <a:srgbClr val="2D0028"/>
      </a:dk1>
      <a:lt1>
        <a:srgbClr val="FFFFFF"/>
      </a:lt1>
      <a:dk2>
        <a:srgbClr val="545F54"/>
      </a:dk2>
      <a:lt2>
        <a:srgbClr val="DBDDDB"/>
      </a:lt2>
      <a:accent1>
        <a:srgbClr val="C5DA00"/>
      </a:accent1>
      <a:accent2>
        <a:srgbClr val="2D0028"/>
      </a:accent2>
      <a:accent3>
        <a:srgbClr val="A0C8F0"/>
      </a:accent3>
      <a:accent4>
        <a:srgbClr val="7C1839"/>
      </a:accent4>
      <a:accent5>
        <a:srgbClr val="9BA08C"/>
      </a:accent5>
      <a:accent6>
        <a:srgbClr val="892D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rgbClr val="C5DA00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7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2D002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7000"/>
          </a:lnSpc>
          <a:defRPr dirty="0" err="1" smtClean="0"/>
        </a:defPPr>
      </a:lstStyle>
    </a:txDef>
  </a:objectDefaults>
  <a:extraClrSchemeLst/>
  <a:custClrLst>
    <a:custClr name="Signal Green">
      <a:srgbClr val="55A500"/>
    </a:custClr>
    <a:custClr name="Signal Yellow">
      <a:srgbClr val="FFB400"/>
    </a:custClr>
    <a:custClr name="Signal Red">
      <a:srgbClr val="E40521"/>
    </a:custClr>
  </a:custClrLst>
  <a:extLst>
    <a:ext uri="{05A4C25C-085E-4340-85A3-A5531E510DB2}">
      <thm15:themeFamily xmlns:thm15="http://schemas.microsoft.com/office/thememl/2012/main" name="Blank.potx" id="{65368A20-8113-4D3A-BA49-07021F5670DA}" vid="{D7CA6D76-C613-4358-A30A-D592EEDC0BB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Signal Green">
      <a:srgbClr val="55A500"/>
    </a:custClr>
    <a:custClr name="Signal Yellow">
      <a:srgbClr val="FFB400"/>
    </a:custClr>
    <a:custClr name="Signal Red">
      <a:srgbClr val="E40521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2</TotalTime>
  <Words>112</Words>
  <Application>Microsoft Office PowerPoint</Application>
  <PresentationFormat>Widescreen</PresentationFormat>
  <Paragraphs>2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Arial</vt:lpstr>
      <vt:lpstr>4_Blank</vt:lpstr>
      <vt:lpstr>think-cell Slide</vt:lpstr>
      <vt:lpstr>PowerPoint Presentation</vt:lpstr>
      <vt:lpstr>PowerPoint Presentation</vt:lpstr>
      <vt:lpstr>PowerPoint Presentation</vt:lpstr>
    </vt:vector>
  </TitlesOfParts>
  <Company>Novozym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onio Ortega Jiménez</dc:creator>
  <cp:lastModifiedBy>AOJ (Antonio Ortega Jiménez)</cp:lastModifiedBy>
  <cp:revision>3</cp:revision>
  <dcterms:created xsi:type="dcterms:W3CDTF">2018-07-03T11:09:35Z</dcterms:created>
  <dcterms:modified xsi:type="dcterms:W3CDTF">2018-07-03T13:2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</Properties>
</file>